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61" r:id="rId2"/>
  </p:sldIdLst>
  <p:sldSz cx="7556500" cy="10693400"/>
  <p:notesSz cx="6858000" cy="9144000"/>
  <p:embeddedFontLst>
    <p:embeddedFont>
      <p:font typeface="Fugaz One" pitchFamily="2" charset="0"/>
      <p:regular r:id="rId3"/>
    </p:embeddedFont>
    <p:embeddedFont>
      <p:font typeface="Sora" pitchFamily="2" charset="0"/>
      <p:regular r:id="rId4"/>
      <p:bold r:id="rId5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BE9"/>
    <a:srgbClr val="E78884"/>
    <a:srgbClr val="49A479"/>
    <a:srgbClr val="0C3622"/>
    <a:srgbClr val="CE5C39"/>
    <a:srgbClr val="8B9FC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 autoAdjust="0"/>
    <p:restoredTop sz="94311" autoAdjust="0"/>
  </p:normalViewPr>
  <p:slideViewPr>
    <p:cSldViewPr>
      <p:cViewPr varScale="1">
        <p:scale>
          <a:sx n="68" d="100"/>
          <a:sy n="68" d="100"/>
        </p:scale>
        <p:origin x="2466" y="13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font" Target="fonts/font1.fntdata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font" Target="fonts/font3.fntdata"/><Relationship Id="rId4" Type="http://schemas.openxmlformats.org/officeDocument/2006/relationships/font" Target="fonts/font2.fntdata"/><Relationship Id="rId9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30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30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30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30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30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30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30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30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30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30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30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11/30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13" Type="http://schemas.openxmlformats.org/officeDocument/2006/relationships/image" Target="../media/image11.png"/><Relationship Id="rId18" Type="http://schemas.openxmlformats.org/officeDocument/2006/relationships/image" Target="../media/image16.svg"/><Relationship Id="rId3" Type="http://schemas.openxmlformats.org/officeDocument/2006/relationships/image" Target="../media/image1.jpeg"/><Relationship Id="rId21" Type="http://schemas.openxmlformats.org/officeDocument/2006/relationships/image" Target="../media/image19.png"/><Relationship Id="rId7" Type="http://schemas.openxmlformats.org/officeDocument/2006/relationships/image" Target="../media/image5.png"/><Relationship Id="rId12" Type="http://schemas.openxmlformats.org/officeDocument/2006/relationships/image" Target="../media/image10.svg"/><Relationship Id="rId17" Type="http://schemas.openxmlformats.org/officeDocument/2006/relationships/image" Target="../media/image15.pn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14.svg"/><Relationship Id="rId20" Type="http://schemas.openxmlformats.org/officeDocument/2006/relationships/image" Target="../media/image18.svg"/><Relationship Id="rId1" Type="http://schemas.openxmlformats.org/officeDocument/2006/relationships/tags" Target="../tags/tag1.xml"/><Relationship Id="rId6" Type="http://schemas.openxmlformats.org/officeDocument/2006/relationships/image" Target="../media/image4.png"/><Relationship Id="rId11" Type="http://schemas.openxmlformats.org/officeDocument/2006/relationships/image" Target="../media/image9.png"/><Relationship Id="rId24" Type="http://schemas.openxmlformats.org/officeDocument/2006/relationships/image" Target="../media/image22.svg"/><Relationship Id="rId5" Type="http://schemas.openxmlformats.org/officeDocument/2006/relationships/image" Target="../media/image3.svg"/><Relationship Id="rId15" Type="http://schemas.openxmlformats.org/officeDocument/2006/relationships/image" Target="../media/image13.png"/><Relationship Id="rId23" Type="http://schemas.openxmlformats.org/officeDocument/2006/relationships/image" Target="../media/image21.png"/><Relationship Id="rId10" Type="http://schemas.openxmlformats.org/officeDocument/2006/relationships/image" Target="../media/image8.svg"/><Relationship Id="rId19" Type="http://schemas.openxmlformats.org/officeDocument/2006/relationships/image" Target="../media/image17.png"/><Relationship Id="rId4" Type="http://schemas.openxmlformats.org/officeDocument/2006/relationships/image" Target="../media/image2.png"/><Relationship Id="rId9" Type="http://schemas.openxmlformats.org/officeDocument/2006/relationships/image" Target="../media/image7.png"/><Relationship Id="rId14" Type="http://schemas.openxmlformats.org/officeDocument/2006/relationships/image" Target="../media/image12.svg"/><Relationship Id="rId22" Type="http://schemas.openxmlformats.org/officeDocument/2006/relationships/image" Target="../media/image20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rgbClr val="0A3420">
                <a:alpha val="100000"/>
              </a:srgbClr>
            </a:gs>
            <a:gs pos="100000">
              <a:srgbClr val="49A479">
                <a:alpha val="100000"/>
              </a:srgbClr>
            </a:gs>
          </a:gsLst>
          <a:lin ang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Fantasy Football #2">
            <a:extLst>
              <a:ext uri="{FF2B5EF4-FFF2-40B4-BE49-F238E27FC236}">
                <a16:creationId xmlns:a16="http://schemas.microsoft.com/office/drawing/2014/main" id="{4D8F3F6A-C161-3B0A-FDE7-D695BABA0064}"/>
              </a:ext>
            </a:extLst>
          </p:cNvPr>
          <p:cNvGrpSpPr/>
          <p:nvPr/>
        </p:nvGrpSpPr>
        <p:grpSpPr>
          <a:xfrm>
            <a:off x="-105159" y="-472498"/>
            <a:ext cx="9089695" cy="11165898"/>
            <a:chOff x="-105159" y="-472498"/>
            <a:chExt cx="9089695" cy="11165898"/>
          </a:xfrm>
        </p:grpSpPr>
        <p:sp>
          <p:nvSpPr>
            <p:cNvPr id="57" name="Gradient Background">
              <a:extLst>
                <a:ext uri="{FF2B5EF4-FFF2-40B4-BE49-F238E27FC236}">
                  <a16:creationId xmlns:a16="http://schemas.microsoft.com/office/drawing/2014/main" id="{347DD248-080A-02F6-4648-4F4B0D89DC5C}"/>
                </a:ext>
              </a:extLst>
            </p:cNvPr>
            <p:cNvSpPr/>
            <p:nvPr/>
          </p:nvSpPr>
          <p:spPr>
            <a:xfrm>
              <a:off x="0" y="0"/>
              <a:ext cx="7556500" cy="10693400"/>
            </a:xfrm>
            <a:prstGeom prst="rect">
              <a:avLst/>
            </a:prstGeom>
            <a:gradFill>
              <a:gsLst>
                <a:gs pos="0">
                  <a:srgbClr val="49A479"/>
                </a:gs>
                <a:gs pos="100000">
                  <a:srgbClr val="0C3622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" name="Background image"/>
            <p:cNvSpPr/>
            <p:nvPr/>
          </p:nvSpPr>
          <p:spPr>
            <a:xfrm>
              <a:off x="0" y="0"/>
              <a:ext cx="7556500" cy="10693400"/>
            </a:xfrm>
            <a:custGeom>
              <a:avLst/>
              <a:gdLst/>
              <a:ahLst/>
              <a:cxnLst/>
              <a:rect l="l" t="t" r="r" b="b"/>
              <a:pathLst>
                <a:path w="7560000" h="10704135">
                  <a:moveTo>
                    <a:pt x="0" y="0"/>
                  </a:moveTo>
                  <a:lnTo>
                    <a:pt x="7560000" y="0"/>
                  </a:lnTo>
                  <a:lnTo>
                    <a:pt x="7560000" y="10704135"/>
                  </a:lnTo>
                  <a:lnTo>
                    <a:pt x="0" y="10704135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3">
                <a:alphaModFix amt="19999"/>
              </a:blip>
              <a:stretch>
                <a:fillRect l="-56258" r="-56258"/>
              </a:stretch>
            </a:blipFill>
          </p:spPr>
          <p:txBody>
            <a:bodyPr/>
            <a:lstStyle/>
            <a:p>
              <a:endParaRPr lang="en-US" dirty="0"/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F36650AC-763D-A7DA-5422-F47970B251E1}"/>
                </a:ext>
              </a:extLst>
            </p:cNvPr>
            <p:cNvGrpSpPr/>
            <p:nvPr/>
          </p:nvGrpSpPr>
          <p:grpSpPr>
            <a:xfrm>
              <a:off x="-13710" y="2351453"/>
              <a:ext cx="7714707" cy="2616836"/>
              <a:chOff x="-13710" y="2351453"/>
              <a:chExt cx="7714707" cy="2616836"/>
            </a:xfrm>
          </p:grpSpPr>
          <p:sp>
            <p:nvSpPr>
              <p:cNvPr id="16" name="AutoShape 16"/>
              <p:cNvSpPr/>
              <p:nvPr/>
            </p:nvSpPr>
            <p:spPr>
              <a:xfrm flipV="1">
                <a:off x="-13710" y="3638448"/>
                <a:ext cx="7601959" cy="1127093"/>
              </a:xfrm>
              <a:prstGeom prst="line">
                <a:avLst/>
              </a:prstGeom>
              <a:ln w="47625" cap="flat">
                <a:solidFill>
                  <a:srgbClr val="FFFFFF">
                    <a:alpha val="40000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C41FEC94-119D-A257-C757-7DB20A3876C9}"/>
                  </a:ext>
                </a:extLst>
              </p:cNvPr>
              <p:cNvSpPr/>
              <p:nvPr/>
            </p:nvSpPr>
            <p:spPr>
              <a:xfrm rot="21296036">
                <a:off x="6132344" y="2351453"/>
                <a:ext cx="1568653" cy="2616836"/>
              </a:xfrm>
              <a:custGeom>
                <a:avLst/>
                <a:gdLst>
                  <a:gd name="connsiteX0" fmla="*/ 1568653 w 1568653"/>
                  <a:gd name="connsiteY0" fmla="*/ 0 h 2616836"/>
                  <a:gd name="connsiteX1" fmla="*/ 1336668 w 1568653"/>
                  <a:gd name="connsiteY1" fmla="*/ 2616836 h 2616836"/>
                  <a:gd name="connsiteX2" fmla="*/ 1196226 w 1568653"/>
                  <a:gd name="connsiteY2" fmla="*/ 2575149 h 2616836"/>
                  <a:gd name="connsiteX3" fmla="*/ 0 w 1568653"/>
                  <a:gd name="connsiteY3" fmla="*/ 1336696 h 2616836"/>
                  <a:gd name="connsiteX4" fmla="*/ 1396034 w 1568653"/>
                  <a:gd name="connsiteY4" fmla="*/ 38931 h 26168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68653" h="2616836">
                    <a:moveTo>
                      <a:pt x="1568653" y="0"/>
                    </a:moveTo>
                    <a:lnTo>
                      <a:pt x="1336668" y="2616836"/>
                    </a:lnTo>
                    <a:lnTo>
                      <a:pt x="1196226" y="2575149"/>
                    </a:lnTo>
                    <a:cubicBezTo>
                      <a:pt x="483700" y="2336644"/>
                      <a:pt x="0" y="1871477"/>
                      <a:pt x="0" y="1336696"/>
                    </a:cubicBezTo>
                    <a:cubicBezTo>
                      <a:pt x="0" y="753296"/>
                      <a:pt x="575644" y="252744"/>
                      <a:pt x="1396034" y="38931"/>
                    </a:cubicBezTo>
                    <a:close/>
                  </a:path>
                </a:pathLst>
              </a:custGeom>
              <a:solidFill>
                <a:srgbClr val="000000">
                  <a:alpha val="0"/>
                </a:srgbClr>
              </a:solidFill>
              <a:ln w="38100" cap="sq">
                <a:solidFill>
                  <a:srgbClr val="FFFFFF">
                    <a:alpha val="49804"/>
                  </a:srgbClr>
                </a:solidFill>
                <a:prstDash val="solid"/>
                <a:miter/>
              </a:ln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098A753E-C69A-E856-582A-29770EEAD7A4}"/>
                </a:ext>
              </a:extLst>
            </p:cNvPr>
            <p:cNvGrpSpPr/>
            <p:nvPr/>
          </p:nvGrpSpPr>
          <p:grpSpPr>
            <a:xfrm>
              <a:off x="4848411" y="-472498"/>
              <a:ext cx="2708089" cy="7811962"/>
              <a:chOff x="4848411" y="-472498"/>
              <a:chExt cx="2708089" cy="7811962"/>
            </a:xfrm>
          </p:grpSpPr>
          <p:sp>
            <p:nvSpPr>
              <p:cNvPr id="3" name="Freeform 3"/>
              <p:cNvSpPr/>
              <p:nvPr/>
            </p:nvSpPr>
            <p:spPr>
              <a:xfrm>
                <a:off x="4848411" y="-472498"/>
                <a:ext cx="2707874" cy="7811962"/>
              </a:xfrm>
              <a:custGeom>
                <a:avLst/>
                <a:gdLst/>
                <a:ahLst/>
                <a:cxnLst/>
                <a:rect l="l" t="t" r="r" b="b"/>
                <a:pathLst>
                  <a:path w="7811962" h="7811962">
                    <a:moveTo>
                      <a:pt x="0" y="0"/>
                    </a:moveTo>
                    <a:lnTo>
                      <a:pt x="7811961" y="0"/>
                    </a:lnTo>
                    <a:lnTo>
                      <a:pt x="7811961" y="7811962"/>
                    </a:lnTo>
                    <a:lnTo>
                      <a:pt x="0" y="7811962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 l="-211" t="6048" r="-188280" b="-6048"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grpSp>
            <p:nvGrpSpPr>
              <p:cNvPr id="61" name="Group 60">
                <a:extLst>
                  <a:ext uri="{FF2B5EF4-FFF2-40B4-BE49-F238E27FC236}">
                    <a16:creationId xmlns:a16="http://schemas.microsoft.com/office/drawing/2014/main" id="{DF35B6C6-F487-15AD-3C98-A61B3A33D585}"/>
                  </a:ext>
                </a:extLst>
              </p:cNvPr>
              <p:cNvGrpSpPr/>
              <p:nvPr/>
            </p:nvGrpSpPr>
            <p:grpSpPr>
              <a:xfrm>
                <a:off x="5174333" y="-13125"/>
                <a:ext cx="2382167" cy="1628198"/>
                <a:chOff x="5174333" y="-13125"/>
                <a:chExt cx="2382167" cy="1628198"/>
              </a:xfrm>
            </p:grpSpPr>
            <p:sp>
              <p:nvSpPr>
                <p:cNvPr id="11" name="Freeform 11"/>
                <p:cNvSpPr/>
                <p:nvPr/>
              </p:nvSpPr>
              <p:spPr>
                <a:xfrm rot="-738233">
                  <a:off x="5174333" y="998991"/>
                  <a:ext cx="2346978" cy="6160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346978" h="616082">
                      <a:moveTo>
                        <a:pt x="0" y="0"/>
                      </a:moveTo>
                      <a:lnTo>
                        <a:pt x="2346978" y="0"/>
                      </a:lnTo>
                      <a:lnTo>
                        <a:pt x="2346978" y="616082"/>
                      </a:lnTo>
                      <a:lnTo>
                        <a:pt x="0" y="61608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blipFill>
                  <a:blip r:embed="rId6"/>
                  <a:stretch>
                    <a:fillRect/>
                  </a:stretch>
                </a:blipFill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2" name="Freeform 32"/>
                <p:cNvSpPr/>
                <p:nvPr/>
              </p:nvSpPr>
              <p:spPr>
                <a:xfrm>
                  <a:off x="5623168" y="-13125"/>
                  <a:ext cx="1933117" cy="15689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24000" h="4056585">
                      <a:moveTo>
                        <a:pt x="0" y="0"/>
                      </a:moveTo>
                      <a:lnTo>
                        <a:pt x="3024000" y="0"/>
                      </a:lnTo>
                      <a:lnTo>
                        <a:pt x="3024000" y="4056585"/>
                      </a:lnTo>
                      <a:lnTo>
                        <a:pt x="0" y="405658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blipFill>
                  <a:blip r:embed="rId7">
                    <a:alphaModFix amt="15000"/>
                    <a:extLst>
                      <a:ext uri="{96DAC541-7B7A-43D3-8B79-37D633B846F1}">
                        <asvg:svgBlip xmlns:asvg="http://schemas.microsoft.com/office/drawing/2016/SVG/main" r:embed="rId8"/>
                      </a:ext>
                    </a:extLst>
                  </a:blip>
                  <a:stretch>
                    <a:fillRect t="-158560" r="-56431" b="1"/>
                  </a:stretch>
                </a:blipFill>
                <a:ln cap="sq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3" name="Freeform 33"/>
                <p:cNvSpPr/>
                <p:nvPr/>
              </p:nvSpPr>
              <p:spPr>
                <a:xfrm>
                  <a:off x="5538409" y="-13124"/>
                  <a:ext cx="2018091" cy="15689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24000" h="4056585">
                      <a:moveTo>
                        <a:pt x="0" y="0"/>
                      </a:moveTo>
                      <a:lnTo>
                        <a:pt x="3024000" y="0"/>
                      </a:lnTo>
                      <a:lnTo>
                        <a:pt x="3024000" y="4056585"/>
                      </a:lnTo>
                      <a:lnTo>
                        <a:pt x="0" y="405658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blipFill>
                  <a:blip r:embed="rId7">
                    <a:alphaModFix amt="50000"/>
                    <a:extLst>
                      <a:ext uri="{96DAC541-7B7A-43D3-8B79-37D633B846F1}">
                        <asvg:svgBlip xmlns:asvg="http://schemas.microsoft.com/office/drawing/2016/SVG/main" r:embed="rId8"/>
                      </a:ext>
                    </a:extLst>
                  </a:blip>
                  <a:stretch>
                    <a:fillRect t="-158557" r="-49845" b="-2"/>
                  </a:stretch>
                </a:blipFill>
                <a:ln cap="sq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4" name="Freeform 34"/>
                <p:cNvSpPr/>
                <p:nvPr/>
              </p:nvSpPr>
              <p:spPr>
                <a:xfrm>
                  <a:off x="5456481" y="-13125"/>
                  <a:ext cx="2100019" cy="15689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24000" h="4056585">
                      <a:moveTo>
                        <a:pt x="0" y="0"/>
                      </a:moveTo>
                      <a:lnTo>
                        <a:pt x="3024000" y="0"/>
                      </a:lnTo>
                      <a:lnTo>
                        <a:pt x="3024000" y="4056585"/>
                      </a:lnTo>
                      <a:lnTo>
                        <a:pt x="0" y="405658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blipFill>
                  <a:blip r:embed="rId7">
                    <a:extLst>
                      <a:ext uri="{96DAC541-7B7A-43D3-8B79-37D633B846F1}">
                        <asvg:svgBlip xmlns:asvg="http://schemas.microsoft.com/office/drawing/2016/SVG/main" r:embed="rId8"/>
                      </a:ext>
                    </a:extLst>
                  </a:blip>
                  <a:stretch>
                    <a:fillRect t="-158560" r="-43998" b="1"/>
                  </a:stretch>
                </a:blipFill>
                <a:ln cap="sq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</p:grpSp>
          <p:sp>
            <p:nvSpPr>
              <p:cNvPr id="36" name="Freeform 36"/>
              <p:cNvSpPr/>
              <p:nvPr/>
            </p:nvSpPr>
            <p:spPr>
              <a:xfrm>
                <a:off x="4848411" y="0"/>
                <a:ext cx="2707874" cy="4051710"/>
              </a:xfrm>
              <a:custGeom>
                <a:avLst/>
                <a:gdLst/>
                <a:ahLst/>
                <a:cxnLst/>
                <a:rect l="l" t="t" r="r" b="b"/>
                <a:pathLst>
                  <a:path w="7811962" h="7811962">
                    <a:moveTo>
                      <a:pt x="0" y="0"/>
                    </a:moveTo>
                    <a:lnTo>
                      <a:pt x="7811961" y="0"/>
                    </a:lnTo>
                    <a:lnTo>
                      <a:pt x="7811961" y="7811961"/>
                    </a:lnTo>
                    <a:lnTo>
                      <a:pt x="0" y="7811961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 t="-92807" r="-188491"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23E2B001-A01F-9242-C466-463F7B053907}"/>
                </a:ext>
              </a:extLst>
            </p:cNvPr>
            <p:cNvGrpSpPr/>
            <p:nvPr/>
          </p:nvGrpSpPr>
          <p:grpSpPr>
            <a:xfrm>
              <a:off x="4021980" y="2959420"/>
              <a:ext cx="4962556" cy="2750198"/>
              <a:chOff x="4021980" y="2959420"/>
              <a:chExt cx="4962556" cy="2750198"/>
            </a:xfrm>
          </p:grpSpPr>
          <p:sp>
            <p:nvSpPr>
              <p:cNvPr id="2" name="Freeform 2"/>
              <p:cNvSpPr/>
              <p:nvPr/>
            </p:nvSpPr>
            <p:spPr>
              <a:xfrm>
                <a:off x="4021980" y="4796084"/>
                <a:ext cx="3534305" cy="796996"/>
              </a:xfrm>
              <a:custGeom>
                <a:avLst/>
                <a:gdLst/>
                <a:ahLst/>
                <a:cxnLst/>
                <a:rect l="l" t="t" r="r" b="b"/>
                <a:pathLst>
                  <a:path w="3605566" h="650122">
                    <a:moveTo>
                      <a:pt x="0" y="0"/>
                    </a:moveTo>
                    <a:lnTo>
                      <a:pt x="3605566" y="0"/>
                    </a:lnTo>
                    <a:lnTo>
                      <a:pt x="3605566" y="650122"/>
                    </a:lnTo>
                    <a:lnTo>
                      <a:pt x="0" y="650122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6"/>
                <a:stretch>
                  <a:fillRect t="-22791" r="-8271" b="-22791"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6" name="Freeform 6"/>
              <p:cNvSpPr/>
              <p:nvPr/>
            </p:nvSpPr>
            <p:spPr>
              <a:xfrm rot="-7941688">
                <a:off x="4726754" y="4127789"/>
                <a:ext cx="1175899" cy="996307"/>
              </a:xfrm>
              <a:custGeom>
                <a:avLst/>
                <a:gdLst/>
                <a:ahLst/>
                <a:cxnLst/>
                <a:rect l="l" t="t" r="r" b="b"/>
                <a:pathLst>
                  <a:path w="1175899" h="996307">
                    <a:moveTo>
                      <a:pt x="0" y="0"/>
                    </a:moveTo>
                    <a:lnTo>
                      <a:pt x="1175899" y="0"/>
                    </a:lnTo>
                    <a:lnTo>
                      <a:pt x="1175899" y="996307"/>
                    </a:lnTo>
                    <a:lnTo>
                      <a:pt x="0" y="996307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9">
                  <a:alphaModFix amt="40000"/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C19A6A2C-B1E5-B9CF-DBD5-C89EBF14B8D4}"/>
                  </a:ext>
                </a:extLst>
              </p:cNvPr>
              <p:cNvSpPr/>
              <p:nvPr/>
            </p:nvSpPr>
            <p:spPr>
              <a:xfrm rot="403163">
                <a:off x="4482725" y="2959420"/>
                <a:ext cx="4501811" cy="2750198"/>
              </a:xfrm>
              <a:custGeom>
                <a:avLst/>
                <a:gdLst>
                  <a:gd name="connsiteX0" fmla="*/ 4238937 w 4501811"/>
                  <a:gd name="connsiteY0" fmla="*/ 0 h 2750198"/>
                  <a:gd name="connsiteX1" fmla="*/ 4501811 w 4501811"/>
                  <a:gd name="connsiteY1" fmla="*/ 0 h 2750198"/>
                  <a:gd name="connsiteX2" fmla="*/ 4501811 w 4501811"/>
                  <a:gd name="connsiteY2" fmla="*/ 2231229 h 2750198"/>
                  <a:gd name="connsiteX3" fmla="*/ 0 w 4501811"/>
                  <a:gd name="connsiteY3" fmla="*/ 0 h 2750198"/>
                  <a:gd name="connsiteX4" fmla="*/ 2917457 w 4501811"/>
                  <a:gd name="connsiteY4" fmla="*/ 0 h 2750198"/>
                  <a:gd name="connsiteX5" fmla="*/ 3241474 w 4501811"/>
                  <a:gd name="connsiteY5" fmla="*/ 2750198 h 2750198"/>
                  <a:gd name="connsiteX6" fmla="*/ 0 w 4501811"/>
                  <a:gd name="connsiteY6" fmla="*/ 2750198 h 2750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501811" h="2750198">
                    <a:moveTo>
                      <a:pt x="4238937" y="0"/>
                    </a:moveTo>
                    <a:lnTo>
                      <a:pt x="4501811" y="0"/>
                    </a:lnTo>
                    <a:lnTo>
                      <a:pt x="4501811" y="2231229"/>
                    </a:lnTo>
                    <a:close/>
                    <a:moveTo>
                      <a:pt x="0" y="0"/>
                    </a:moveTo>
                    <a:lnTo>
                      <a:pt x="2917457" y="0"/>
                    </a:lnTo>
                    <a:lnTo>
                      <a:pt x="3241474" y="2750198"/>
                    </a:lnTo>
                    <a:lnTo>
                      <a:pt x="0" y="2750198"/>
                    </a:lnTo>
                    <a:close/>
                  </a:path>
                </a:pathLst>
              </a:custGeom>
              <a:blipFill>
                <a:blip r:embed="rId11">
                  <a:alphaModFix amt="15000"/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25C40ACD-B257-D24E-0EA1-C858592EF34B}"/>
                  </a:ext>
                </a:extLst>
              </p:cNvPr>
              <p:cNvSpPr/>
              <p:nvPr/>
            </p:nvSpPr>
            <p:spPr>
              <a:xfrm rot="403163">
                <a:off x="4362653" y="2959420"/>
                <a:ext cx="4501812" cy="2750198"/>
              </a:xfrm>
              <a:custGeom>
                <a:avLst/>
                <a:gdLst>
                  <a:gd name="connsiteX0" fmla="*/ 4243251 w 4501812"/>
                  <a:gd name="connsiteY0" fmla="*/ 0 h 2750198"/>
                  <a:gd name="connsiteX1" fmla="*/ 4501812 w 4501812"/>
                  <a:gd name="connsiteY1" fmla="*/ 0 h 2750198"/>
                  <a:gd name="connsiteX2" fmla="*/ 4501812 w 4501812"/>
                  <a:gd name="connsiteY2" fmla="*/ 2194615 h 2750198"/>
                  <a:gd name="connsiteX3" fmla="*/ 0 w 4501812"/>
                  <a:gd name="connsiteY3" fmla="*/ 0 h 2750198"/>
                  <a:gd name="connsiteX4" fmla="*/ 3038144 w 4501812"/>
                  <a:gd name="connsiteY4" fmla="*/ 0 h 2750198"/>
                  <a:gd name="connsiteX5" fmla="*/ 3362161 w 4501812"/>
                  <a:gd name="connsiteY5" fmla="*/ 2750198 h 2750198"/>
                  <a:gd name="connsiteX6" fmla="*/ 0 w 4501812"/>
                  <a:gd name="connsiteY6" fmla="*/ 2750198 h 2750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501812" h="2750198">
                    <a:moveTo>
                      <a:pt x="4243251" y="0"/>
                    </a:moveTo>
                    <a:lnTo>
                      <a:pt x="4501812" y="0"/>
                    </a:lnTo>
                    <a:lnTo>
                      <a:pt x="4501812" y="2194615"/>
                    </a:lnTo>
                    <a:close/>
                    <a:moveTo>
                      <a:pt x="0" y="0"/>
                    </a:moveTo>
                    <a:lnTo>
                      <a:pt x="3038144" y="0"/>
                    </a:lnTo>
                    <a:lnTo>
                      <a:pt x="3362161" y="2750198"/>
                    </a:lnTo>
                    <a:lnTo>
                      <a:pt x="0" y="2750198"/>
                    </a:lnTo>
                    <a:close/>
                  </a:path>
                </a:pathLst>
              </a:custGeom>
              <a:blipFill>
                <a:blip r:embed="rId11">
                  <a:alphaModFix amt="50000"/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BEFACB17-94F2-E5F0-7039-669436F0A596}"/>
                  </a:ext>
                </a:extLst>
              </p:cNvPr>
              <p:cNvSpPr/>
              <p:nvPr/>
            </p:nvSpPr>
            <p:spPr>
              <a:xfrm rot="403163">
                <a:off x="4242584" y="2959420"/>
                <a:ext cx="4501811" cy="2750198"/>
              </a:xfrm>
              <a:custGeom>
                <a:avLst/>
                <a:gdLst>
                  <a:gd name="connsiteX0" fmla="*/ 4222274 w 4501811"/>
                  <a:gd name="connsiteY0" fmla="*/ 0 h 2750198"/>
                  <a:gd name="connsiteX1" fmla="*/ 4501811 w 4501811"/>
                  <a:gd name="connsiteY1" fmla="*/ 0 h 2750198"/>
                  <a:gd name="connsiteX2" fmla="*/ 4501811 w 4501811"/>
                  <a:gd name="connsiteY2" fmla="*/ 2372656 h 2750198"/>
                  <a:gd name="connsiteX3" fmla="*/ 0 w 4501811"/>
                  <a:gd name="connsiteY3" fmla="*/ 0 h 2750198"/>
                  <a:gd name="connsiteX4" fmla="*/ 3155014 w 4501811"/>
                  <a:gd name="connsiteY4" fmla="*/ 0 h 2750198"/>
                  <a:gd name="connsiteX5" fmla="*/ 3479032 w 4501811"/>
                  <a:gd name="connsiteY5" fmla="*/ 2750198 h 2750198"/>
                  <a:gd name="connsiteX6" fmla="*/ 0 w 4501811"/>
                  <a:gd name="connsiteY6" fmla="*/ 2750198 h 2750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501811" h="2750198">
                    <a:moveTo>
                      <a:pt x="4222274" y="0"/>
                    </a:moveTo>
                    <a:lnTo>
                      <a:pt x="4501811" y="0"/>
                    </a:lnTo>
                    <a:lnTo>
                      <a:pt x="4501811" y="2372656"/>
                    </a:lnTo>
                    <a:close/>
                    <a:moveTo>
                      <a:pt x="0" y="0"/>
                    </a:moveTo>
                    <a:lnTo>
                      <a:pt x="3155014" y="0"/>
                    </a:lnTo>
                    <a:lnTo>
                      <a:pt x="3479032" y="2750198"/>
                    </a:lnTo>
                    <a:lnTo>
                      <a:pt x="0" y="2750198"/>
                    </a:lnTo>
                    <a:close/>
                  </a:path>
                </a:pathLst>
              </a:custGeom>
              <a:blipFill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4082D96C-7B85-5EBC-053D-54814717F67B}"/>
                </a:ext>
              </a:extLst>
            </p:cNvPr>
            <p:cNvGrpSpPr/>
            <p:nvPr/>
          </p:nvGrpSpPr>
          <p:grpSpPr>
            <a:xfrm>
              <a:off x="-105159" y="-13125"/>
              <a:ext cx="2576155" cy="1893981"/>
              <a:chOff x="-105159" y="-13125"/>
              <a:chExt cx="2576155" cy="1893981"/>
            </a:xfrm>
          </p:grpSpPr>
          <p:sp>
            <p:nvSpPr>
              <p:cNvPr id="5" name="Freeform 5"/>
              <p:cNvSpPr/>
              <p:nvPr/>
            </p:nvSpPr>
            <p:spPr>
              <a:xfrm rot="2789220">
                <a:off x="274546" y="732581"/>
                <a:ext cx="1175899" cy="996307"/>
              </a:xfrm>
              <a:custGeom>
                <a:avLst/>
                <a:gdLst/>
                <a:ahLst/>
                <a:cxnLst/>
                <a:rect l="l" t="t" r="r" b="b"/>
                <a:pathLst>
                  <a:path w="1175899" h="996307">
                    <a:moveTo>
                      <a:pt x="0" y="0"/>
                    </a:moveTo>
                    <a:lnTo>
                      <a:pt x="1175898" y="0"/>
                    </a:lnTo>
                    <a:lnTo>
                      <a:pt x="1175898" y="996307"/>
                    </a:lnTo>
                    <a:lnTo>
                      <a:pt x="0" y="996307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9">
                  <a:alphaModFix amt="40000"/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0" name="Freeform 10"/>
              <p:cNvSpPr/>
              <p:nvPr/>
            </p:nvSpPr>
            <p:spPr>
              <a:xfrm>
                <a:off x="-105159" y="1230734"/>
                <a:ext cx="2476655" cy="650122"/>
              </a:xfrm>
              <a:custGeom>
                <a:avLst/>
                <a:gdLst/>
                <a:ahLst/>
                <a:cxnLst/>
                <a:rect l="l" t="t" r="r" b="b"/>
                <a:pathLst>
                  <a:path w="2476655" h="650122">
                    <a:moveTo>
                      <a:pt x="0" y="0"/>
                    </a:moveTo>
                    <a:lnTo>
                      <a:pt x="2476655" y="0"/>
                    </a:lnTo>
                    <a:lnTo>
                      <a:pt x="2476655" y="650122"/>
                    </a:lnTo>
                    <a:lnTo>
                      <a:pt x="0" y="650122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2" name="Freeform 12"/>
              <p:cNvSpPr/>
              <p:nvPr/>
            </p:nvSpPr>
            <p:spPr>
              <a:xfrm>
                <a:off x="267636" y="-13125"/>
                <a:ext cx="2012782" cy="1568921"/>
              </a:xfrm>
              <a:custGeom>
                <a:avLst/>
                <a:gdLst/>
                <a:ahLst/>
                <a:cxnLst/>
                <a:rect l="l" t="t" r="r" b="b"/>
                <a:pathLst>
                  <a:path w="2012782" h="3437983">
                    <a:moveTo>
                      <a:pt x="0" y="0"/>
                    </a:moveTo>
                    <a:lnTo>
                      <a:pt x="2012782" y="0"/>
                    </a:lnTo>
                    <a:lnTo>
                      <a:pt x="2012782" y="3437982"/>
                    </a:lnTo>
                    <a:lnTo>
                      <a:pt x="0" y="3437982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3">
                  <a:alphaModFix amt="15000"/>
                  <a:extLst>
                    <a:ext uri="{96DAC541-7B7A-43D3-8B79-37D633B846F1}">
                      <asvg:svgBlip xmlns:asvg="http://schemas.microsoft.com/office/drawing/2016/SVG/main" r:embed="rId14"/>
                    </a:ext>
                  </a:extLst>
                </a:blip>
                <a:stretch>
                  <a:fillRect t="-119130"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3" name="Freeform 13"/>
              <p:cNvSpPr/>
              <p:nvPr/>
            </p:nvSpPr>
            <p:spPr>
              <a:xfrm>
                <a:off x="351978" y="0"/>
                <a:ext cx="2012782" cy="1654504"/>
              </a:xfrm>
              <a:custGeom>
                <a:avLst/>
                <a:gdLst/>
                <a:ahLst/>
                <a:cxnLst/>
                <a:rect l="l" t="t" r="r" b="b"/>
                <a:pathLst>
                  <a:path w="2012782" h="3437983">
                    <a:moveTo>
                      <a:pt x="0" y="0"/>
                    </a:moveTo>
                    <a:lnTo>
                      <a:pt x="2012783" y="0"/>
                    </a:lnTo>
                    <a:lnTo>
                      <a:pt x="2012783" y="3437982"/>
                    </a:lnTo>
                    <a:lnTo>
                      <a:pt x="0" y="3437982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3">
                  <a:alphaModFix amt="50000"/>
                  <a:extLst>
                    <a:ext uri="{96DAC541-7B7A-43D3-8B79-37D633B846F1}">
                      <asvg:svgBlip xmlns:asvg="http://schemas.microsoft.com/office/drawing/2016/SVG/main" r:embed="rId14"/>
                    </a:ext>
                  </a:extLst>
                </a:blip>
                <a:stretch>
                  <a:fillRect t="-107795"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4" name="Freeform 14"/>
              <p:cNvSpPr/>
              <p:nvPr/>
            </p:nvSpPr>
            <p:spPr>
              <a:xfrm>
                <a:off x="458214" y="-13125"/>
                <a:ext cx="2012782" cy="1719982"/>
              </a:xfrm>
              <a:custGeom>
                <a:avLst/>
                <a:gdLst/>
                <a:ahLst/>
                <a:cxnLst/>
                <a:rect l="l" t="t" r="r" b="b"/>
                <a:pathLst>
                  <a:path w="2012782" h="3437983">
                    <a:moveTo>
                      <a:pt x="0" y="0"/>
                    </a:moveTo>
                    <a:lnTo>
                      <a:pt x="2012782" y="0"/>
                    </a:lnTo>
                    <a:lnTo>
                      <a:pt x="2012782" y="3437982"/>
                    </a:lnTo>
                    <a:lnTo>
                      <a:pt x="0" y="3437982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3">
                  <a:extLst>
                    <a:ext uri="{96DAC541-7B7A-43D3-8B79-37D633B846F1}">
                      <asvg:svgBlip xmlns:asvg="http://schemas.microsoft.com/office/drawing/2016/SVG/main" r:embed="rId14"/>
                    </a:ext>
                  </a:extLst>
                </a:blip>
                <a:stretch>
                  <a:fillRect t="-99884" b="-1"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FCE7B480-D5F7-523E-4BB3-87DD2492C1A3}"/>
                </a:ext>
              </a:extLst>
            </p:cNvPr>
            <p:cNvGrpSpPr/>
            <p:nvPr/>
          </p:nvGrpSpPr>
          <p:grpSpPr>
            <a:xfrm>
              <a:off x="-13709" y="2558825"/>
              <a:ext cx="2975795" cy="4535252"/>
              <a:chOff x="-13709" y="2558825"/>
              <a:chExt cx="2975795" cy="4535252"/>
            </a:xfrm>
          </p:grpSpPr>
          <p:sp>
            <p:nvSpPr>
              <p:cNvPr id="17" name="Freeform 17"/>
              <p:cNvSpPr/>
              <p:nvPr/>
            </p:nvSpPr>
            <p:spPr>
              <a:xfrm>
                <a:off x="-1" y="2579301"/>
                <a:ext cx="2787431" cy="4514776"/>
              </a:xfrm>
              <a:custGeom>
                <a:avLst/>
                <a:gdLst/>
                <a:ahLst/>
                <a:cxnLst/>
                <a:rect l="l" t="t" r="r" b="b"/>
                <a:pathLst>
                  <a:path w="3849872" h="4514776">
                    <a:moveTo>
                      <a:pt x="0" y="0"/>
                    </a:moveTo>
                    <a:lnTo>
                      <a:pt x="3849872" y="0"/>
                    </a:lnTo>
                    <a:lnTo>
                      <a:pt x="3849872" y="4514776"/>
                    </a:lnTo>
                    <a:lnTo>
                      <a:pt x="0" y="4514776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5">
                  <a:alphaModFix amt="15000"/>
                  <a:extLst>
                    <a:ext uri="{96DAC541-7B7A-43D3-8B79-37D633B846F1}">
                      <asvg:svgBlip xmlns:asvg="http://schemas.microsoft.com/office/drawing/2016/SVG/main" r:embed="rId16"/>
                    </a:ext>
                  </a:extLst>
                </a:blip>
                <a:stretch>
                  <a:fillRect l="-38116" r="1"/>
                </a:stretch>
              </a:blip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8" name="Freeform 18"/>
              <p:cNvSpPr/>
              <p:nvPr/>
            </p:nvSpPr>
            <p:spPr>
              <a:xfrm>
                <a:off x="-13709" y="2569063"/>
                <a:ext cx="2904486" cy="4514776"/>
              </a:xfrm>
              <a:custGeom>
                <a:avLst/>
                <a:gdLst/>
                <a:ahLst/>
                <a:cxnLst/>
                <a:rect l="l" t="t" r="r" b="b"/>
                <a:pathLst>
                  <a:path w="3849872" h="4514776">
                    <a:moveTo>
                      <a:pt x="0" y="0"/>
                    </a:moveTo>
                    <a:lnTo>
                      <a:pt x="3849873" y="0"/>
                    </a:lnTo>
                    <a:lnTo>
                      <a:pt x="3849873" y="4514776"/>
                    </a:lnTo>
                    <a:lnTo>
                      <a:pt x="0" y="4514776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5">
                  <a:alphaModFix amt="50000"/>
                  <a:extLst>
                    <a:ext uri="{96DAC541-7B7A-43D3-8B79-37D633B846F1}">
                      <asvg:svgBlip xmlns:asvg="http://schemas.microsoft.com/office/drawing/2016/SVG/main" r:embed="rId16"/>
                    </a:ext>
                  </a:extLst>
                </a:blip>
                <a:stretch>
                  <a:fillRect l="-32549"/>
                </a:stretch>
              </a:blip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9" name="Freeform 19"/>
              <p:cNvSpPr/>
              <p:nvPr/>
            </p:nvSpPr>
            <p:spPr>
              <a:xfrm>
                <a:off x="0" y="2558825"/>
                <a:ext cx="2962086" cy="4514776"/>
              </a:xfrm>
              <a:custGeom>
                <a:avLst/>
                <a:gdLst/>
                <a:ahLst/>
                <a:cxnLst/>
                <a:rect l="l" t="t" r="r" b="b"/>
                <a:pathLst>
                  <a:path w="3849872" h="4514776">
                    <a:moveTo>
                      <a:pt x="0" y="0"/>
                    </a:moveTo>
                    <a:lnTo>
                      <a:pt x="3849872" y="0"/>
                    </a:lnTo>
                    <a:lnTo>
                      <a:pt x="3849872" y="4514775"/>
                    </a:lnTo>
                    <a:lnTo>
                      <a:pt x="0" y="4514775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5">
                  <a:extLst>
                    <a:ext uri="{96DAC541-7B7A-43D3-8B79-37D633B846F1}">
                      <asvg:svgBlip xmlns:asvg="http://schemas.microsoft.com/office/drawing/2016/SVG/main" r:embed="rId16"/>
                    </a:ext>
                  </a:extLst>
                </a:blip>
                <a:stretch>
                  <a:fillRect l="-29972"/>
                </a:stretch>
              </a:blip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3A46131C-4919-08CB-ECB8-4887E728FBC1}"/>
                </a:ext>
              </a:extLst>
            </p:cNvPr>
            <p:cNvGrpSpPr/>
            <p:nvPr/>
          </p:nvGrpSpPr>
          <p:grpSpPr>
            <a:xfrm>
              <a:off x="279825" y="10236127"/>
              <a:ext cx="6996849" cy="123111"/>
              <a:chOff x="279825" y="10236127"/>
              <a:chExt cx="6996849" cy="123111"/>
            </a:xfrm>
          </p:grpSpPr>
          <p:sp>
            <p:nvSpPr>
              <p:cNvPr id="38" name="TextBox 38"/>
              <p:cNvSpPr txBox="1"/>
              <p:nvPr/>
            </p:nvSpPr>
            <p:spPr>
              <a:xfrm>
                <a:off x="3790438" y="10236127"/>
                <a:ext cx="3486236" cy="123111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r">
                  <a:spcBef>
                    <a:spcPct val="0"/>
                  </a:spcBef>
                </a:pPr>
                <a:r>
                  <a:rPr lang="en-US" sz="800" b="1" spc="-40" dirty="0">
                    <a:solidFill>
                      <a:srgbClr val="FFFFFF">
                        <a:alpha val="80000"/>
                      </a:srgbClr>
                    </a:solidFill>
                    <a:latin typeface="Sora" pitchFamily="2" charset="0"/>
                    <a:ea typeface="Sora Bold"/>
                    <a:cs typeface="Sora" pitchFamily="2" charset="0"/>
                    <a:sym typeface="Sora Bold"/>
                  </a:rPr>
                  <a:t>Primary Platform | </a:t>
                </a:r>
                <a:r>
                  <a:rPr lang="en-US" sz="800" spc="-40" dirty="0">
                    <a:solidFill>
                      <a:srgbClr val="FFFFFF">
                        <a:alpha val="80000"/>
                      </a:srgbClr>
                    </a:solidFill>
                    <a:latin typeface="Sora" pitchFamily="2" charset="0"/>
                    <a:ea typeface="Sora"/>
                    <a:cs typeface="Sora" pitchFamily="2" charset="0"/>
                    <a:sym typeface="Sora"/>
                  </a:rPr>
                  <a:t>ESPN Fantasy App (accessible via mobile or desktop)</a:t>
                </a:r>
              </a:p>
            </p:txBody>
          </p:sp>
          <p:sp>
            <p:nvSpPr>
              <p:cNvPr id="39" name="TextBox 39"/>
              <p:cNvSpPr txBox="1"/>
              <p:nvPr/>
            </p:nvSpPr>
            <p:spPr>
              <a:xfrm>
                <a:off x="279825" y="10236127"/>
                <a:ext cx="2694450" cy="123111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l">
                  <a:spcBef>
                    <a:spcPct val="0"/>
                  </a:spcBef>
                </a:pPr>
                <a:r>
                  <a:rPr lang="en-US" sz="800" b="1" spc="-40" dirty="0">
                    <a:solidFill>
                      <a:srgbClr val="FFFFFF">
                        <a:alpha val="80000"/>
                      </a:srgbClr>
                    </a:solidFill>
                    <a:latin typeface="Sora" pitchFamily="2" charset="0"/>
                    <a:ea typeface="Sora Bold"/>
                    <a:cs typeface="Sora" pitchFamily="2" charset="0"/>
                    <a:sym typeface="Sora Bold"/>
                  </a:rPr>
                  <a:t>Playoff Schedule |</a:t>
                </a:r>
                <a:r>
                  <a:rPr lang="en-US" sz="800" spc="-40" dirty="0">
                    <a:solidFill>
                      <a:srgbClr val="FFFFFF">
                        <a:alpha val="80000"/>
                      </a:srgbClr>
                    </a:solidFill>
                    <a:latin typeface="Sora" pitchFamily="2" charset="0"/>
                    <a:ea typeface="Sora"/>
                    <a:cs typeface="Sora" pitchFamily="2" charset="0"/>
                    <a:sym typeface="Sora"/>
                  </a:rPr>
                  <a:t> December 10, 2024 – January 5, 2025</a:t>
                </a:r>
              </a:p>
            </p:txBody>
          </p: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6B66BC61-1E6D-3505-BD97-55B88ED7C666}"/>
                </a:ext>
              </a:extLst>
            </p:cNvPr>
            <p:cNvGrpSpPr/>
            <p:nvPr/>
          </p:nvGrpSpPr>
          <p:grpSpPr>
            <a:xfrm>
              <a:off x="3898162" y="3153591"/>
              <a:ext cx="1032176" cy="388590"/>
              <a:chOff x="3898162" y="3153591"/>
              <a:chExt cx="1032176" cy="388590"/>
            </a:xfrm>
          </p:grpSpPr>
          <p:sp>
            <p:nvSpPr>
              <p:cNvPr id="41" name="TextBox 41"/>
              <p:cNvSpPr txBox="1"/>
              <p:nvPr/>
            </p:nvSpPr>
            <p:spPr>
              <a:xfrm>
                <a:off x="3898162" y="3311349"/>
                <a:ext cx="1032176" cy="230832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r>
                  <a:rPr lang="en-US" sz="750" spc="-19" dirty="0">
                    <a:solidFill>
                      <a:srgbClr val="FFFFFF">
                        <a:alpha val="69804"/>
                      </a:srgbClr>
                    </a:solidFill>
                    <a:latin typeface="Sora"/>
                    <a:ea typeface="Sora"/>
                    <a:cs typeface="Sora"/>
                    <a:sym typeface="Sora"/>
                  </a:rPr>
                  <a:t>Head-to-Head Matchups (weekly)</a:t>
                </a:r>
              </a:p>
            </p:txBody>
          </p:sp>
          <p:sp>
            <p:nvSpPr>
              <p:cNvPr id="42" name="TextBox 42"/>
              <p:cNvSpPr txBox="1"/>
              <p:nvPr/>
            </p:nvSpPr>
            <p:spPr>
              <a:xfrm>
                <a:off x="3898162" y="3153591"/>
                <a:ext cx="830178" cy="153760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r>
                  <a:rPr lang="en-US" sz="999" b="1" spc="-24" dirty="0">
                    <a:solidFill>
                      <a:srgbClr val="FFFFFF">
                        <a:alpha val="84706"/>
                      </a:srgbClr>
                    </a:solidFill>
                    <a:latin typeface="Sora" pitchFamily="2" charset="0"/>
                    <a:ea typeface="Sora Bold"/>
                    <a:cs typeface="Sora" pitchFamily="2" charset="0"/>
                    <a:sym typeface="Sora Bold"/>
                  </a:rPr>
                  <a:t>Match Style</a:t>
                </a:r>
              </a:p>
            </p:txBody>
          </p: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92C3D4BC-4DD7-727A-FB7A-608BD5942D42}"/>
                </a:ext>
              </a:extLst>
            </p:cNvPr>
            <p:cNvGrpSpPr/>
            <p:nvPr/>
          </p:nvGrpSpPr>
          <p:grpSpPr>
            <a:xfrm>
              <a:off x="2364761" y="793584"/>
              <a:ext cx="1640246" cy="273174"/>
              <a:chOff x="2364761" y="793584"/>
              <a:chExt cx="1640246" cy="273174"/>
            </a:xfrm>
          </p:grpSpPr>
          <p:sp>
            <p:nvSpPr>
              <p:cNvPr id="44" name="TextBox 44"/>
              <p:cNvSpPr txBox="1"/>
              <p:nvPr/>
            </p:nvSpPr>
            <p:spPr>
              <a:xfrm>
                <a:off x="2735908" y="951342"/>
                <a:ext cx="1269099" cy="11541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>
                <a:defPPr>
                  <a:defRPr lang="en-US"/>
                </a:defPPr>
                <a:lvl1pPr algn="just">
                  <a:defRPr sz="750" spc="-19">
                    <a:solidFill>
                      <a:srgbClr val="FFFFFF">
                        <a:alpha val="69804"/>
                      </a:srgbClr>
                    </a:solidFill>
                    <a:latin typeface="Sora"/>
                    <a:ea typeface="Sora"/>
                    <a:cs typeface="Sora"/>
                  </a:defRPr>
                </a:lvl1pPr>
              </a:lstStyle>
              <a:p>
                <a:pPr algn="r"/>
                <a:r>
                  <a:rPr lang="en-US" dirty="0">
                    <a:sym typeface="Sora"/>
                  </a:rPr>
                  <a:t>12-Team Redraft League</a:t>
                </a:r>
              </a:p>
            </p:txBody>
          </p:sp>
          <p:sp>
            <p:nvSpPr>
              <p:cNvPr id="45" name="TextBox 45"/>
              <p:cNvSpPr txBox="1"/>
              <p:nvPr/>
            </p:nvSpPr>
            <p:spPr>
              <a:xfrm>
                <a:off x="2364761" y="793584"/>
                <a:ext cx="1640246" cy="15376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r"/>
                <a:r>
                  <a:rPr lang="en-US" sz="999" b="1" spc="-24" dirty="0">
                    <a:solidFill>
                      <a:srgbClr val="FFFFFF">
                        <a:alpha val="84706"/>
                      </a:srgbClr>
                    </a:solidFill>
                    <a:latin typeface="Sora" pitchFamily="2" charset="0"/>
                    <a:ea typeface="Sora Bold"/>
                    <a:cs typeface="Sora" pitchFamily="2" charset="0"/>
                    <a:sym typeface="Sora Bold"/>
                  </a:rPr>
                  <a:t>League Format</a:t>
                </a:r>
              </a:p>
            </p:txBody>
          </p: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A38D79D9-53E7-5279-BBE1-D01B15F2FF9B}"/>
                </a:ext>
              </a:extLst>
            </p:cNvPr>
            <p:cNvGrpSpPr/>
            <p:nvPr/>
          </p:nvGrpSpPr>
          <p:grpSpPr>
            <a:xfrm>
              <a:off x="267636" y="1766187"/>
              <a:ext cx="7060350" cy="1377310"/>
              <a:chOff x="267636" y="1766187"/>
              <a:chExt cx="7060350" cy="1377310"/>
            </a:xfrm>
          </p:grpSpPr>
          <p:sp>
            <p:nvSpPr>
              <p:cNvPr id="15" name="TextBox 15"/>
              <p:cNvSpPr txBox="1"/>
              <p:nvPr/>
            </p:nvSpPr>
            <p:spPr>
              <a:xfrm>
                <a:off x="267636" y="1766187"/>
                <a:ext cx="3180733" cy="823174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l"/>
                <a:r>
                  <a:rPr lang="en-US" sz="5349" spc="-133" dirty="0">
                    <a:solidFill>
                      <a:srgbClr val="FFFFFF"/>
                    </a:solidFill>
                    <a:latin typeface="Fugaz One"/>
                    <a:ea typeface="Fugaz One"/>
                    <a:cs typeface="Fugaz One"/>
                    <a:sym typeface="Fugaz One"/>
                  </a:rPr>
                  <a:t>FANTASY</a:t>
                </a:r>
              </a:p>
            </p:txBody>
          </p:sp>
          <p:sp>
            <p:nvSpPr>
              <p:cNvPr id="24" name="TextBox 24"/>
              <p:cNvSpPr txBox="1"/>
              <p:nvPr/>
            </p:nvSpPr>
            <p:spPr>
              <a:xfrm>
                <a:off x="3623025" y="2320323"/>
                <a:ext cx="3704961" cy="823174"/>
              </a:xfrm>
              <a:prstGeom prst="rect">
                <a:avLst/>
              </a:prstGeom>
            </p:spPr>
            <p:txBody>
              <a:bodyPr wrap="square" lIns="0" tIns="0" rIns="91440" bIns="0" rtlCol="0" anchor="t">
                <a:spAutoFit/>
              </a:bodyPr>
              <a:lstStyle/>
              <a:p>
                <a:pPr algn="r"/>
                <a:r>
                  <a:rPr lang="en-US" sz="5349" spc="-133" dirty="0">
                    <a:solidFill>
                      <a:srgbClr val="FFFFFF"/>
                    </a:solidFill>
                    <a:latin typeface="Fugaz One"/>
                    <a:ea typeface="Fugaz One"/>
                    <a:cs typeface="Fugaz One"/>
                    <a:sym typeface="Fugaz One"/>
                  </a:rPr>
                  <a:t>FOOTBALL</a:t>
                </a: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438460C9-0535-F062-7EAE-04DA480DF8EB}"/>
                </a:ext>
              </a:extLst>
            </p:cNvPr>
            <p:cNvGrpSpPr/>
            <p:nvPr/>
          </p:nvGrpSpPr>
          <p:grpSpPr>
            <a:xfrm>
              <a:off x="1464605" y="586845"/>
              <a:ext cx="3605566" cy="4335625"/>
              <a:chOff x="1464605" y="586845"/>
              <a:chExt cx="3605566" cy="4335625"/>
            </a:xfrm>
          </p:grpSpPr>
          <p:sp>
            <p:nvSpPr>
              <p:cNvPr id="4" name="Freeform 4"/>
              <p:cNvSpPr/>
              <p:nvPr/>
            </p:nvSpPr>
            <p:spPr>
              <a:xfrm rot="3600040">
                <a:off x="2374136" y="3836367"/>
                <a:ext cx="1175899" cy="996307"/>
              </a:xfrm>
              <a:custGeom>
                <a:avLst/>
                <a:gdLst/>
                <a:ahLst/>
                <a:cxnLst/>
                <a:rect l="l" t="t" r="r" b="b"/>
                <a:pathLst>
                  <a:path w="1175899" h="996307">
                    <a:moveTo>
                      <a:pt x="0" y="0"/>
                    </a:moveTo>
                    <a:lnTo>
                      <a:pt x="1175899" y="0"/>
                    </a:lnTo>
                    <a:lnTo>
                      <a:pt x="1175899" y="996307"/>
                    </a:lnTo>
                    <a:lnTo>
                      <a:pt x="0" y="996307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9">
                  <a:alphaModFix amt="40000"/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8" name="Freeform 8"/>
              <p:cNvSpPr/>
              <p:nvPr/>
            </p:nvSpPr>
            <p:spPr>
              <a:xfrm>
                <a:off x="3146921" y="4725114"/>
                <a:ext cx="694086" cy="182198"/>
              </a:xfrm>
              <a:custGeom>
                <a:avLst/>
                <a:gdLst/>
                <a:ahLst/>
                <a:cxnLst/>
                <a:rect l="l" t="t" r="r" b="b"/>
                <a:pathLst>
                  <a:path w="694086" h="182198">
                    <a:moveTo>
                      <a:pt x="0" y="0"/>
                    </a:moveTo>
                    <a:lnTo>
                      <a:pt x="694085" y="0"/>
                    </a:lnTo>
                    <a:lnTo>
                      <a:pt x="694085" y="182197"/>
                    </a:lnTo>
                    <a:lnTo>
                      <a:pt x="0" y="182197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9" name="Freeform 9"/>
              <p:cNvSpPr/>
              <p:nvPr/>
            </p:nvSpPr>
            <p:spPr>
              <a:xfrm>
                <a:off x="1464605" y="3955462"/>
                <a:ext cx="3605566" cy="650122"/>
              </a:xfrm>
              <a:custGeom>
                <a:avLst/>
                <a:gdLst/>
                <a:ahLst/>
                <a:cxnLst/>
                <a:rect l="l" t="t" r="r" b="b"/>
                <a:pathLst>
                  <a:path w="3605566" h="650122">
                    <a:moveTo>
                      <a:pt x="0" y="0"/>
                    </a:moveTo>
                    <a:lnTo>
                      <a:pt x="3605566" y="0"/>
                    </a:lnTo>
                    <a:lnTo>
                      <a:pt x="3605566" y="650122"/>
                    </a:lnTo>
                    <a:lnTo>
                      <a:pt x="0" y="650122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6"/>
                <a:stretch>
                  <a:fillRect t="-22791" b="-22791"/>
                </a:stretch>
              </a:blipFill>
              <a:effectLst>
                <a:softEdge rad="101600"/>
              </a:effectLst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5" name="Freeform 25"/>
              <p:cNvSpPr/>
              <p:nvPr/>
            </p:nvSpPr>
            <p:spPr>
              <a:xfrm>
                <a:off x="2626044" y="1555795"/>
                <a:ext cx="1999659" cy="1999659"/>
              </a:xfrm>
              <a:custGeom>
                <a:avLst/>
                <a:gdLst/>
                <a:ahLst/>
                <a:cxnLst/>
                <a:rect l="l" t="t" r="r" b="b"/>
                <a:pathLst>
                  <a:path w="1999659" h="1999659">
                    <a:moveTo>
                      <a:pt x="0" y="0"/>
                    </a:moveTo>
                    <a:lnTo>
                      <a:pt x="1999659" y="0"/>
                    </a:lnTo>
                    <a:lnTo>
                      <a:pt x="1999659" y="1999659"/>
                    </a:lnTo>
                    <a:lnTo>
                      <a:pt x="0" y="1999659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7">
                  <a:extLst>
                    <a:ext uri="{96DAC541-7B7A-43D3-8B79-37D633B846F1}">
                      <asvg:svgBlip xmlns:asvg="http://schemas.microsoft.com/office/drawing/2016/SVG/main" r:embed="rId18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6" name="Freeform 26"/>
              <p:cNvSpPr/>
              <p:nvPr/>
            </p:nvSpPr>
            <p:spPr>
              <a:xfrm>
                <a:off x="1872576" y="586845"/>
                <a:ext cx="3071471" cy="3813338"/>
              </a:xfrm>
              <a:custGeom>
                <a:avLst/>
                <a:gdLst/>
                <a:ahLst/>
                <a:cxnLst/>
                <a:rect l="l" t="t" r="r" b="b"/>
                <a:pathLst>
                  <a:path w="3071471" h="3813338">
                    <a:moveTo>
                      <a:pt x="0" y="0"/>
                    </a:moveTo>
                    <a:lnTo>
                      <a:pt x="3071471" y="0"/>
                    </a:lnTo>
                    <a:lnTo>
                      <a:pt x="3071471" y="3813339"/>
                    </a:lnTo>
                    <a:lnTo>
                      <a:pt x="0" y="3813339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9">
                  <a:alphaModFix amt="15000"/>
                  <a:extLst>
                    <a:ext uri="{96DAC541-7B7A-43D3-8B79-37D633B846F1}">
                      <asvg:svgBlip xmlns:asvg="http://schemas.microsoft.com/office/drawing/2016/SVG/main" r:embed="rId20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7" name="Freeform 27"/>
              <p:cNvSpPr/>
              <p:nvPr/>
            </p:nvSpPr>
            <p:spPr>
              <a:xfrm>
                <a:off x="1933456" y="586845"/>
                <a:ext cx="3071471" cy="3813338"/>
              </a:xfrm>
              <a:custGeom>
                <a:avLst/>
                <a:gdLst/>
                <a:ahLst/>
                <a:cxnLst/>
                <a:rect l="l" t="t" r="r" b="b"/>
                <a:pathLst>
                  <a:path w="3071471" h="3813338">
                    <a:moveTo>
                      <a:pt x="0" y="0"/>
                    </a:moveTo>
                    <a:lnTo>
                      <a:pt x="3071471" y="0"/>
                    </a:lnTo>
                    <a:lnTo>
                      <a:pt x="3071471" y="3813339"/>
                    </a:lnTo>
                    <a:lnTo>
                      <a:pt x="0" y="3813339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9">
                  <a:alphaModFix amt="50000"/>
                  <a:extLst>
                    <a:ext uri="{96DAC541-7B7A-43D3-8B79-37D633B846F1}">
                      <asvg:svgBlip xmlns:asvg="http://schemas.microsoft.com/office/drawing/2016/SVG/main" r:embed="rId20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8" name="Freeform 28"/>
              <p:cNvSpPr/>
              <p:nvPr/>
            </p:nvSpPr>
            <p:spPr>
              <a:xfrm>
                <a:off x="1998700" y="586845"/>
                <a:ext cx="3071471" cy="3813338"/>
              </a:xfrm>
              <a:custGeom>
                <a:avLst/>
                <a:gdLst/>
                <a:ahLst/>
                <a:cxnLst/>
                <a:rect l="l" t="t" r="r" b="b"/>
                <a:pathLst>
                  <a:path w="3071471" h="3813338">
                    <a:moveTo>
                      <a:pt x="0" y="0"/>
                    </a:moveTo>
                    <a:lnTo>
                      <a:pt x="3071471" y="0"/>
                    </a:lnTo>
                    <a:lnTo>
                      <a:pt x="3071471" y="3813339"/>
                    </a:lnTo>
                    <a:lnTo>
                      <a:pt x="0" y="3813339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9">
                  <a:extLst>
                    <a:ext uri="{96DAC541-7B7A-43D3-8B79-37D633B846F1}">
                      <asvg:svgBlip xmlns:asvg="http://schemas.microsoft.com/office/drawing/2016/SVG/main" r:embed="rId20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5" name="Freeform 35"/>
              <p:cNvSpPr/>
              <p:nvPr/>
            </p:nvSpPr>
            <p:spPr>
              <a:xfrm>
                <a:off x="3122149" y="4122120"/>
                <a:ext cx="694086" cy="704331"/>
              </a:xfrm>
              <a:custGeom>
                <a:avLst/>
                <a:gdLst/>
                <a:ahLst/>
                <a:cxnLst/>
                <a:rect l="l" t="t" r="r" b="b"/>
                <a:pathLst>
                  <a:path w="694086" h="704331">
                    <a:moveTo>
                      <a:pt x="0" y="0"/>
                    </a:moveTo>
                    <a:lnTo>
                      <a:pt x="694086" y="0"/>
                    </a:lnTo>
                    <a:lnTo>
                      <a:pt x="694086" y="704331"/>
                    </a:lnTo>
                    <a:lnTo>
                      <a:pt x="0" y="704331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21">
                  <a:extLst>
                    <a:ext uri="{96DAC541-7B7A-43D3-8B79-37D633B846F1}">
                      <asvg:svgBlip xmlns:asvg="http://schemas.microsoft.com/office/drawing/2016/SVG/main" r:embed="rId22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</p:grpSp>
        <p:sp>
          <p:nvSpPr>
            <p:cNvPr id="37" name="QuickSignup"/>
            <p:cNvSpPr/>
            <p:nvPr/>
          </p:nvSpPr>
          <p:spPr>
            <a:xfrm>
              <a:off x="6638029" y="5318625"/>
              <a:ext cx="660903" cy="133213"/>
            </a:xfrm>
            <a:custGeom>
              <a:avLst/>
              <a:gdLst/>
              <a:ahLst/>
              <a:cxnLst/>
              <a:rect l="l" t="t" r="r" b="b"/>
              <a:pathLst>
                <a:path w="660903" h="133213">
                  <a:moveTo>
                    <a:pt x="0" y="0"/>
                  </a:moveTo>
                  <a:lnTo>
                    <a:pt x="660903" y="0"/>
                  </a:lnTo>
                  <a:lnTo>
                    <a:pt x="660903" y="133213"/>
                  </a:lnTo>
                  <a:lnTo>
                    <a:pt x="0" y="133213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3">
                <a:alphaModFix amt="80000"/>
                <a:extLst>
                  <a:ext uri="{96DAC541-7B7A-43D3-8B79-37D633B846F1}">
                    <asvg:svgBlip xmlns:asvg="http://schemas.microsoft.com/office/drawing/2016/SVG/main" r:embed="rId24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 dirty="0"/>
            </a:p>
          </p:txBody>
        </p:sp>
      </p:grpSp>
      <p:graphicFrame>
        <p:nvGraphicFramePr>
          <p:cNvPr id="20" name="Table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4067282"/>
              </p:ext>
            </p:extLst>
          </p:nvPr>
        </p:nvGraphicFramePr>
        <p:xfrm>
          <a:off x="279825" y="5562701"/>
          <a:ext cx="6996850" cy="4543854"/>
        </p:xfrm>
        <a:graphic>
          <a:graphicData uri="http://schemas.openxmlformats.org/drawingml/2006/table">
            <a:tbl>
              <a:tblPr/>
              <a:tblGrid>
                <a:gridCol w="13993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9937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9937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9937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9937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24561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ts val="989"/>
                        </a:lnSpc>
                        <a:spcBef>
                          <a:spcPct val="0"/>
                        </a:spcBef>
                        <a:defRPr/>
                      </a:pPr>
                      <a:r>
                        <a:rPr lang="en-US" sz="750" b="1" dirty="0">
                          <a:solidFill>
                            <a:srgbClr val="FFFFFF"/>
                          </a:solidFill>
                          <a:latin typeface="Sora" pitchFamily="2" charset="0"/>
                          <a:ea typeface="Sora Bold"/>
                          <a:cs typeface="Sora" pitchFamily="2" charset="0"/>
                          <a:sym typeface="Sora Bold"/>
                        </a:rPr>
                        <a:t>Participant Name</a:t>
                      </a:r>
                      <a:endParaRPr lang="en-US" sz="750" dirty="0"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6155" cap="flat" cmpd="sng" algn="ctr">
                      <a:solidFill>
                        <a:srgbClr val="E7888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155" cap="flat" cmpd="sng" algn="ctr">
                      <a:solidFill>
                        <a:srgbClr val="E7888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155" cap="flat" cmpd="sng" algn="ctr">
                      <a:solidFill>
                        <a:srgbClr val="E7888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155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8884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ts val="1120"/>
                        </a:lnSpc>
                        <a:spcBef>
                          <a:spcPct val="0"/>
                        </a:spcBef>
                        <a:defRPr/>
                      </a:pPr>
                      <a:r>
                        <a:rPr lang="en-US" sz="750" b="1" dirty="0">
                          <a:solidFill>
                            <a:srgbClr val="FFFFFF"/>
                          </a:solidFill>
                          <a:latin typeface="Sora" pitchFamily="2" charset="0"/>
                          <a:ea typeface="Sora Bold"/>
                          <a:cs typeface="Sora" pitchFamily="2" charset="0"/>
                          <a:sym typeface="Sora Bold"/>
                        </a:rPr>
                        <a:t>Phone</a:t>
                      </a:r>
                      <a:endParaRPr lang="en-US" sz="750" dirty="0"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6155" cap="flat" cmpd="sng" algn="ctr">
                      <a:solidFill>
                        <a:srgbClr val="E7888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155" cap="flat" cmpd="sng" algn="ctr">
                      <a:solidFill>
                        <a:srgbClr val="E7888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155" cap="flat" cmpd="sng" algn="ctr">
                      <a:solidFill>
                        <a:srgbClr val="E7888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155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8884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ts val="989"/>
                        </a:lnSpc>
                        <a:spcBef>
                          <a:spcPct val="0"/>
                        </a:spcBef>
                        <a:defRPr/>
                      </a:pPr>
                      <a:r>
                        <a:rPr lang="en-US" sz="750" b="1" dirty="0">
                          <a:solidFill>
                            <a:srgbClr val="FFFFFF"/>
                          </a:solidFill>
                          <a:latin typeface="Sora" pitchFamily="2" charset="0"/>
                          <a:ea typeface="Sora Bold"/>
                          <a:cs typeface="Sora" pitchFamily="2" charset="0"/>
                          <a:sym typeface="Sora Bold"/>
                        </a:rPr>
                        <a:t>Email</a:t>
                      </a:r>
                      <a:endParaRPr lang="en-US" sz="750" dirty="0"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6155" cap="flat" cmpd="sng" algn="ctr">
                      <a:solidFill>
                        <a:srgbClr val="E7888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155" cap="flat" cmpd="sng" algn="ctr">
                      <a:solidFill>
                        <a:srgbClr val="E7888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155" cap="flat" cmpd="sng" algn="ctr">
                      <a:solidFill>
                        <a:srgbClr val="E7888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155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888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89"/>
                        </a:lnSpc>
                        <a:spcBef>
                          <a:spcPct val="0"/>
                        </a:spcBef>
                        <a:defRPr/>
                      </a:pPr>
                      <a:r>
                        <a:rPr lang="en-US" sz="750" b="1" dirty="0">
                          <a:solidFill>
                            <a:srgbClr val="FFFFFF"/>
                          </a:solidFill>
                          <a:latin typeface="Sora" pitchFamily="2" charset="0"/>
                          <a:ea typeface="Sora Bold"/>
                          <a:cs typeface="Sora" pitchFamily="2" charset="0"/>
                          <a:sym typeface="Sora Bold"/>
                        </a:rPr>
                        <a:t>Preferred Position</a:t>
                      </a:r>
                      <a:endParaRPr lang="en-US" sz="750" dirty="0"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6155" cap="flat" cmpd="sng" algn="ctr">
                      <a:solidFill>
                        <a:srgbClr val="E7888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155" cap="flat" cmpd="sng" algn="ctr">
                      <a:solidFill>
                        <a:srgbClr val="E7888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155" cap="flat" cmpd="sng" algn="ctr">
                      <a:solidFill>
                        <a:srgbClr val="E7888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155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888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89"/>
                        </a:lnSpc>
                        <a:spcBef>
                          <a:spcPct val="0"/>
                        </a:spcBef>
                        <a:defRPr/>
                      </a:pPr>
                      <a:r>
                        <a:rPr lang="en-US" sz="750" b="1" dirty="0">
                          <a:solidFill>
                            <a:srgbClr val="FFFFFF"/>
                          </a:solidFill>
                          <a:latin typeface="Sora" pitchFamily="2" charset="0"/>
                          <a:ea typeface="Sora Bold"/>
                          <a:cs typeface="Sora" pitchFamily="2" charset="0"/>
                          <a:sym typeface="Sora Bold"/>
                        </a:rPr>
                        <a:t>Entry Fee Paid</a:t>
                      </a:r>
                      <a:endParaRPr lang="en-US" sz="750" dirty="0"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6155" cap="flat" cmpd="sng" algn="ctr">
                      <a:solidFill>
                        <a:srgbClr val="E7888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155" cap="flat" cmpd="sng" algn="ctr">
                      <a:solidFill>
                        <a:srgbClr val="E7888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155" cap="flat" cmpd="sng" algn="ctr">
                      <a:solidFill>
                        <a:srgbClr val="E7888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155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8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4561">
                <a:tc>
                  <a:txBody>
                    <a:bodyPr/>
                    <a:lstStyle/>
                    <a:p>
                      <a:pPr algn="ctr">
                        <a:lnSpc>
                          <a:spcPts val="873"/>
                        </a:lnSpc>
                        <a:defRPr/>
                      </a:pPr>
                      <a:endParaRPr lang="en-US" sz="750" dirty="0">
                        <a:solidFill>
                          <a:srgbClr val="E78884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155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873"/>
                        </a:lnSpc>
                        <a:defRPr/>
                      </a:pPr>
                      <a:endParaRPr lang="en-US" sz="750" dirty="0">
                        <a:solidFill>
                          <a:srgbClr val="E78884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155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873"/>
                        </a:lnSpc>
                        <a:defRPr/>
                      </a:pPr>
                      <a:endParaRPr lang="en-US" sz="750" dirty="0">
                        <a:solidFill>
                          <a:srgbClr val="E78884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155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873"/>
                        </a:lnSpc>
                        <a:defRPr/>
                      </a:pPr>
                      <a:endParaRPr lang="en-US" sz="750" dirty="0">
                        <a:solidFill>
                          <a:srgbClr val="E78884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155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873"/>
                        </a:lnSpc>
                        <a:defRPr/>
                      </a:pPr>
                      <a:endParaRPr lang="en-US" sz="750" dirty="0">
                        <a:solidFill>
                          <a:srgbClr val="E78884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155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4561">
                <a:tc>
                  <a:txBody>
                    <a:bodyPr/>
                    <a:lstStyle/>
                    <a:p>
                      <a:pPr algn="ctr">
                        <a:lnSpc>
                          <a:spcPts val="873"/>
                        </a:lnSpc>
                        <a:defRPr/>
                      </a:pPr>
                      <a:endParaRPr lang="en-US" sz="750" dirty="0">
                        <a:solidFill>
                          <a:srgbClr val="E78884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873"/>
                        </a:lnSpc>
                        <a:defRPr/>
                      </a:pPr>
                      <a:endParaRPr lang="en-US" sz="750" dirty="0">
                        <a:solidFill>
                          <a:srgbClr val="E78884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873"/>
                        </a:lnSpc>
                        <a:defRPr/>
                      </a:pPr>
                      <a:endParaRPr lang="en-US" sz="750" dirty="0">
                        <a:solidFill>
                          <a:srgbClr val="E78884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873"/>
                        </a:lnSpc>
                        <a:defRPr/>
                      </a:pPr>
                      <a:endParaRPr lang="en-US" sz="750" dirty="0">
                        <a:solidFill>
                          <a:srgbClr val="E78884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873"/>
                        </a:lnSpc>
                        <a:defRPr/>
                      </a:pPr>
                      <a:endParaRPr lang="en-US" sz="750" dirty="0">
                        <a:solidFill>
                          <a:srgbClr val="E78884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4561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50" dirty="0">
                        <a:solidFill>
                          <a:srgbClr val="E78884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50" dirty="0">
                        <a:solidFill>
                          <a:srgbClr val="E78884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50" dirty="0">
                        <a:solidFill>
                          <a:srgbClr val="E78884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50" dirty="0">
                        <a:solidFill>
                          <a:srgbClr val="E78884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50" dirty="0">
                        <a:solidFill>
                          <a:srgbClr val="E78884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4561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50" dirty="0">
                        <a:solidFill>
                          <a:srgbClr val="E78884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50" dirty="0">
                        <a:solidFill>
                          <a:srgbClr val="E78884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50" dirty="0">
                        <a:solidFill>
                          <a:srgbClr val="E78884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50" dirty="0">
                        <a:solidFill>
                          <a:srgbClr val="E78884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50" dirty="0">
                        <a:solidFill>
                          <a:srgbClr val="E78884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4561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50" dirty="0">
                        <a:solidFill>
                          <a:srgbClr val="E78884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50" dirty="0">
                        <a:solidFill>
                          <a:srgbClr val="E78884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50" dirty="0">
                        <a:solidFill>
                          <a:srgbClr val="E78884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50" dirty="0">
                        <a:solidFill>
                          <a:srgbClr val="E78884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50" dirty="0">
                        <a:solidFill>
                          <a:srgbClr val="E78884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24561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50" dirty="0">
                        <a:solidFill>
                          <a:srgbClr val="E78884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50" dirty="0">
                        <a:solidFill>
                          <a:srgbClr val="E78884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50" dirty="0">
                        <a:solidFill>
                          <a:srgbClr val="E78884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50" dirty="0">
                        <a:solidFill>
                          <a:srgbClr val="E78884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50" dirty="0">
                        <a:solidFill>
                          <a:srgbClr val="E78884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24561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50" dirty="0">
                        <a:solidFill>
                          <a:srgbClr val="E78884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50" dirty="0">
                        <a:solidFill>
                          <a:srgbClr val="E78884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50" dirty="0">
                        <a:solidFill>
                          <a:srgbClr val="E78884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50" dirty="0">
                        <a:solidFill>
                          <a:srgbClr val="E78884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50" dirty="0">
                        <a:solidFill>
                          <a:srgbClr val="E78884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24561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50" dirty="0">
                        <a:solidFill>
                          <a:srgbClr val="E78884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50" dirty="0">
                        <a:solidFill>
                          <a:srgbClr val="E78884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50" dirty="0">
                        <a:solidFill>
                          <a:srgbClr val="E78884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50" dirty="0">
                        <a:solidFill>
                          <a:srgbClr val="E78884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50" dirty="0">
                        <a:solidFill>
                          <a:srgbClr val="E78884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24561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50" dirty="0">
                        <a:solidFill>
                          <a:srgbClr val="E78884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50" dirty="0">
                        <a:solidFill>
                          <a:srgbClr val="E78884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50" dirty="0">
                        <a:solidFill>
                          <a:srgbClr val="E78884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50" dirty="0">
                        <a:solidFill>
                          <a:srgbClr val="E78884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50" dirty="0">
                        <a:solidFill>
                          <a:srgbClr val="E78884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24561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50" dirty="0">
                        <a:solidFill>
                          <a:srgbClr val="E78884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50" dirty="0">
                        <a:solidFill>
                          <a:srgbClr val="E78884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50" dirty="0">
                        <a:solidFill>
                          <a:srgbClr val="E78884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50" dirty="0">
                        <a:solidFill>
                          <a:srgbClr val="E78884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50" dirty="0">
                        <a:solidFill>
                          <a:srgbClr val="E78884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24561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50" dirty="0">
                        <a:solidFill>
                          <a:srgbClr val="E78884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50" dirty="0">
                        <a:solidFill>
                          <a:srgbClr val="E78884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50" dirty="0">
                        <a:solidFill>
                          <a:srgbClr val="E78884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50" dirty="0">
                        <a:solidFill>
                          <a:srgbClr val="E78884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50" dirty="0">
                        <a:solidFill>
                          <a:srgbClr val="E78884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24561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50" dirty="0">
                        <a:solidFill>
                          <a:srgbClr val="E78884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50" dirty="0">
                        <a:solidFill>
                          <a:srgbClr val="E78884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50" dirty="0">
                        <a:solidFill>
                          <a:srgbClr val="E78884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50" dirty="0">
                        <a:solidFill>
                          <a:srgbClr val="E78884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50" dirty="0">
                        <a:solidFill>
                          <a:srgbClr val="E78884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24561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50" dirty="0">
                        <a:solidFill>
                          <a:srgbClr val="E78884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50" dirty="0">
                        <a:solidFill>
                          <a:srgbClr val="E78884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50" dirty="0">
                        <a:solidFill>
                          <a:srgbClr val="E78884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50" dirty="0">
                        <a:solidFill>
                          <a:srgbClr val="E78884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750" dirty="0">
                        <a:solidFill>
                          <a:srgbClr val="E78884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E8C1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</p:spTree>
    <p:custDataLst>
      <p:tags r:id="rId1"/>
    </p:custData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4</TotalTime>
  <Words>48</Words>
  <Application>Microsoft Office PowerPoint</Application>
  <PresentationFormat>Custom</PresentationFormat>
  <Paragraphs>13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Sora</vt:lpstr>
      <vt:lpstr>Fugaz One</vt:lpstr>
      <vt:lpstr>Arial</vt:lpstr>
      <vt:lpstr>Calibri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pointment, Fantasy Football, Farewell Potluck (Portrait)</dc:title>
  <dc:creator>Hoang Anh</dc:creator>
  <cp:lastModifiedBy>Hoang Anh</cp:lastModifiedBy>
  <cp:revision>39</cp:revision>
  <dcterms:created xsi:type="dcterms:W3CDTF">2006-08-16T00:00:00Z</dcterms:created>
  <dcterms:modified xsi:type="dcterms:W3CDTF">2024-11-30T08:54:22Z</dcterms:modified>
  <dc:identifier>DAGXdD6_llA</dc:identifier>
</cp:coreProperties>
</file>